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96"/>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103" r:id="rId140"/>
    <p:sldId id="1118" r:id="rId141"/>
    <p:sldId id="1097" r:id="rId142"/>
    <p:sldId id="1099" r:id="rId143"/>
    <p:sldId id="1100" r:id="rId144"/>
    <p:sldId id="1104" r:id="rId145"/>
    <p:sldId id="1107" r:id="rId146"/>
    <p:sldId id="1106" r:id="rId147"/>
    <p:sldId id="1108" r:id="rId148"/>
    <p:sldId id="1109" r:id="rId149"/>
    <p:sldId id="1110" r:id="rId150"/>
    <p:sldId id="1111" r:id="rId151"/>
    <p:sldId id="1009" r:id="rId152"/>
    <p:sldId id="1101" r:id="rId153"/>
    <p:sldId id="1102" r:id="rId154"/>
    <p:sldId id="1119" r:id="rId155"/>
    <p:sldId id="665" r:id="rId156"/>
    <p:sldId id="1122" r:id="rId157"/>
    <p:sldId id="1120" r:id="rId158"/>
    <p:sldId id="1121" r:id="rId159"/>
    <p:sldId id="834" r:id="rId160"/>
    <p:sldId id="838" r:id="rId161"/>
    <p:sldId id="839" r:id="rId162"/>
    <p:sldId id="841" r:id="rId163"/>
    <p:sldId id="842" r:id="rId164"/>
    <p:sldId id="843" r:id="rId165"/>
    <p:sldId id="835" r:id="rId166"/>
    <p:sldId id="844" r:id="rId167"/>
    <p:sldId id="836" r:id="rId168"/>
    <p:sldId id="846" r:id="rId169"/>
    <p:sldId id="847" r:id="rId170"/>
    <p:sldId id="868" r:id="rId171"/>
    <p:sldId id="869" r:id="rId172"/>
    <p:sldId id="872" r:id="rId173"/>
    <p:sldId id="870" r:id="rId174"/>
    <p:sldId id="1010" r:id="rId175"/>
    <p:sldId id="1112" r:id="rId176"/>
    <p:sldId id="1113" r:id="rId177"/>
    <p:sldId id="1114" r:id="rId178"/>
    <p:sldId id="1115" r:id="rId179"/>
    <p:sldId id="1116" r:id="rId180"/>
    <p:sldId id="1117" r:id="rId181"/>
    <p:sldId id="1105" r:id="rId182"/>
    <p:sldId id="1011" r:id="rId183"/>
    <p:sldId id="680" r:id="rId184"/>
    <p:sldId id="610" r:id="rId185"/>
    <p:sldId id="674" r:id="rId186"/>
    <p:sldId id="681" r:id="rId187"/>
    <p:sldId id="692" r:id="rId188"/>
    <p:sldId id="693" r:id="rId189"/>
    <p:sldId id="676" r:id="rId190"/>
    <p:sldId id="694" r:id="rId191"/>
    <p:sldId id="685" r:id="rId192"/>
    <p:sldId id="697" r:id="rId193"/>
    <p:sldId id="698" r:id="rId194"/>
    <p:sldId id="689" r:id="rId195"/>
    <p:sldId id="699" r:id="rId196"/>
    <p:sldId id="700" r:id="rId197"/>
    <p:sldId id="690" r:id="rId198"/>
    <p:sldId id="682" r:id="rId199"/>
    <p:sldId id="677" r:id="rId200"/>
    <p:sldId id="710" r:id="rId201"/>
    <p:sldId id="713" r:id="rId202"/>
    <p:sldId id="712" r:id="rId203"/>
    <p:sldId id="714" r:id="rId204"/>
    <p:sldId id="723" r:id="rId205"/>
    <p:sldId id="725" r:id="rId206"/>
    <p:sldId id="726" r:id="rId207"/>
    <p:sldId id="728" r:id="rId208"/>
    <p:sldId id="730" r:id="rId209"/>
    <p:sldId id="731" r:id="rId210"/>
    <p:sldId id="732" r:id="rId211"/>
    <p:sldId id="733" r:id="rId212"/>
    <p:sldId id="734" r:id="rId213"/>
    <p:sldId id="735" r:id="rId214"/>
    <p:sldId id="736" r:id="rId215"/>
    <p:sldId id="737" r:id="rId216"/>
    <p:sldId id="707" r:id="rId217"/>
    <p:sldId id="738" r:id="rId218"/>
    <p:sldId id="739" r:id="rId219"/>
    <p:sldId id="740" r:id="rId220"/>
    <p:sldId id="741" r:id="rId221"/>
    <p:sldId id="743" r:id="rId222"/>
    <p:sldId id="742" r:id="rId223"/>
    <p:sldId id="744" r:id="rId224"/>
    <p:sldId id="745" r:id="rId225"/>
    <p:sldId id="746" r:id="rId226"/>
    <p:sldId id="747" r:id="rId227"/>
    <p:sldId id="748" r:id="rId228"/>
    <p:sldId id="749" r:id="rId229"/>
    <p:sldId id="750" r:id="rId230"/>
    <p:sldId id="751" r:id="rId231"/>
    <p:sldId id="752" r:id="rId232"/>
    <p:sldId id="755" r:id="rId233"/>
    <p:sldId id="756" r:id="rId234"/>
    <p:sldId id="757" r:id="rId235"/>
    <p:sldId id="758" r:id="rId236"/>
    <p:sldId id="759" r:id="rId237"/>
    <p:sldId id="760" r:id="rId238"/>
    <p:sldId id="761" r:id="rId239"/>
    <p:sldId id="762" r:id="rId240"/>
    <p:sldId id="817" r:id="rId241"/>
    <p:sldId id="765" r:id="rId242"/>
    <p:sldId id="766" r:id="rId243"/>
    <p:sldId id="767" r:id="rId244"/>
    <p:sldId id="769" r:id="rId245"/>
    <p:sldId id="784" r:id="rId246"/>
    <p:sldId id="785" r:id="rId247"/>
    <p:sldId id="786" r:id="rId248"/>
    <p:sldId id="770" r:id="rId249"/>
    <p:sldId id="768" r:id="rId250"/>
    <p:sldId id="798" r:id="rId251"/>
    <p:sldId id="803" r:id="rId252"/>
    <p:sldId id="804" r:id="rId253"/>
    <p:sldId id="805" r:id="rId254"/>
    <p:sldId id="806" r:id="rId255"/>
    <p:sldId id="807" r:id="rId256"/>
    <p:sldId id="763" r:id="rId257"/>
    <p:sldId id="810" r:id="rId258"/>
    <p:sldId id="827" r:id="rId259"/>
    <p:sldId id="831" r:id="rId260"/>
    <p:sldId id="832" r:id="rId261"/>
    <p:sldId id="833" r:id="rId262"/>
    <p:sldId id="830" r:id="rId263"/>
    <p:sldId id="837" r:id="rId264"/>
    <p:sldId id="850" r:id="rId265"/>
    <p:sldId id="877" r:id="rId266"/>
    <p:sldId id="878" r:id="rId267"/>
    <p:sldId id="879" r:id="rId268"/>
    <p:sldId id="881" r:id="rId269"/>
    <p:sldId id="885" r:id="rId270"/>
    <p:sldId id="882" r:id="rId271"/>
    <p:sldId id="883" r:id="rId272"/>
    <p:sldId id="884" r:id="rId273"/>
    <p:sldId id="849" r:id="rId274"/>
    <p:sldId id="880" r:id="rId275"/>
    <p:sldId id="873" r:id="rId276"/>
    <p:sldId id="886" r:id="rId277"/>
    <p:sldId id="891" r:id="rId278"/>
    <p:sldId id="887" r:id="rId279"/>
    <p:sldId id="888" r:id="rId280"/>
    <p:sldId id="889" r:id="rId281"/>
    <p:sldId id="890" r:id="rId282"/>
    <p:sldId id="892" r:id="rId283"/>
    <p:sldId id="933" r:id="rId284"/>
    <p:sldId id="935" r:id="rId285"/>
    <p:sldId id="932" r:id="rId286"/>
    <p:sldId id="934" r:id="rId287"/>
    <p:sldId id="931" r:id="rId288"/>
    <p:sldId id="936" r:id="rId289"/>
    <p:sldId id="823" r:id="rId290"/>
    <p:sldId id="821" r:id="rId291"/>
    <p:sldId id="825" r:id="rId292"/>
    <p:sldId id="824" r:id="rId293"/>
    <p:sldId id="822" r:id="rId294"/>
    <p:sldId id="296" r:id="rId2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3"/>
            <p14:sldId id="1114"/>
            <p14:sldId id="1115"/>
            <p14:sldId id="1116"/>
            <p14:sldId id="1117"/>
            <p14:sldId id="1105"/>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29" autoAdjust="0"/>
    <p:restoredTop sz="87540" autoAdjust="0"/>
  </p:normalViewPr>
  <p:slideViewPr>
    <p:cSldViewPr snapToGrid="0">
      <p:cViewPr varScale="1">
        <p:scale>
          <a:sx n="108" d="100"/>
          <a:sy n="108" d="100"/>
        </p:scale>
        <p:origin x="486" y="108"/>
      </p:cViewPr>
      <p:guideLst/>
    </p:cSldViewPr>
  </p:slideViewPr>
  <p:notesTextViewPr>
    <p:cViewPr>
      <p:scale>
        <a:sx n="3" d="2"/>
        <a:sy n="3" d="2"/>
      </p:scale>
      <p:origin x="0" y="-936"/>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theme" Target="theme/theme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notesMaster" Target="notesMasters/notesMaster1.xml"/><Relationship Id="rId300" Type="http://schemas.openxmlformats.org/officeDocument/2006/relationships/tableStyles" Target="tableStyle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presProps" Target="presProps.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viewProps" Target="viewProp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4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89.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5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9 12:3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9 12:3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a:t>Microsoft Learn: </a:t>
            </a:r>
            <a:r>
              <a:rPr lang="en-US">
                <a:hlinkClick r:id="rId11"/>
              </a:rPr>
              <a:t>https://docs.microsoft.com/en-us/learn/browse/?products=powerapps&amp;resource_type=learning%2520path#step-1</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9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9 12:3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7/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7/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7/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89.sv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9.sv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89.sv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9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0.png"/></Relationships>
</file>

<file path=ppt/slides/_rels/slide15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10" Type="http://schemas.openxmlformats.org/officeDocument/2006/relationships/image" Target="../media/image195.png"/><Relationship Id="rId4" Type="http://schemas.openxmlformats.org/officeDocument/2006/relationships/hyperlink" Target="http://fleitasarts.com/" TargetMode="External"/><Relationship Id="rId9" Type="http://schemas.openxmlformats.org/officeDocument/2006/relationships/image" Target="../media/image194.png"/></Relationships>
</file>

<file path=ppt/slides/_rels/slide15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5.png"/></Relationships>
</file>

<file path=ppt/slides/_rels/slide1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8.png"/></Relationships>
</file>

<file path=ppt/slides/_rels/slide1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9.png"/></Relationships>
</file>

<file path=ppt/slides/_rels/slide1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0.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2.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6.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7.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8.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9.png"/></Relationships>
</file>

<file path=ppt/slides/_rels/slide16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18.png"/><Relationship Id="rId4" Type="http://schemas.openxmlformats.org/officeDocument/2006/relationships/hyperlink" Target="http://fleitasarts.com/" TargetMode="External"/><Relationship Id="rId9" Type="http://schemas.openxmlformats.org/officeDocument/2006/relationships/image" Target="../media/image217.png"/></Relationships>
</file>

<file path=ppt/slides/_rels/slide181.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8.png"/><Relationship Id="rId7"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91.png"/></Relationships>
</file>

<file path=ppt/slides/_rels/slide182.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20.png"/><Relationship Id="rId9" Type="http://schemas.openxmlformats.org/officeDocument/2006/relationships/image" Target="../media/image191.png"/></Relationships>
</file>

<file path=ppt/slides/_rels/slide184.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1.png"/><Relationship Id="rId5" Type="http://schemas.openxmlformats.org/officeDocument/2006/relationships/hyperlink" Target="http://fleitasarts.com/" TargetMode="External"/><Relationship Id="rId10" Type="http://schemas.openxmlformats.org/officeDocument/2006/relationships/image" Target="../media/image216.png"/><Relationship Id="rId4" Type="http://schemas.openxmlformats.org/officeDocument/2006/relationships/image" Target="../media/image28.png"/><Relationship Id="rId9" Type="http://schemas.openxmlformats.org/officeDocument/2006/relationships/image" Target="../media/image222.png"/></Relationships>
</file>

<file path=ppt/slides/_rels/slide1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24.png"/><Relationship Id="rId4" Type="http://schemas.openxmlformats.org/officeDocument/2006/relationships/image" Target="../media/image223.png"/></Relationships>
</file>

<file path=ppt/slides/_rels/slide186.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7.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8.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9.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31.png"/></Relationships>
</file>

<file path=ppt/slides/_rels/slide194.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15.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15.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5.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5.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5.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5.png"/><Relationship Id="rId7" Type="http://schemas.openxmlformats.org/officeDocument/2006/relationships/image" Target="../media/image15.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15.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5.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5.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15.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15.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68.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69.png"/><Relationship Id="rId7" Type="http://schemas.openxmlformats.org/officeDocument/2006/relationships/image" Target="../media/image15.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15.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71.png"/><Relationship Id="rId7" Type="http://schemas.openxmlformats.org/officeDocument/2006/relationships/image" Target="../media/image15.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28.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38.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1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78.png"/><Relationship Id="rId7" Type="http://schemas.openxmlformats.org/officeDocument/2006/relationships/image" Target="../media/image15.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15.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80.png"/><Relationship Id="rId7" Type="http://schemas.openxmlformats.org/officeDocument/2006/relationships/image" Target="../media/image15.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81.png"/><Relationship Id="rId7" Type="http://schemas.openxmlformats.org/officeDocument/2006/relationships/image" Target="../media/image15.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2.png"/><Relationship Id="rId7" Type="http://schemas.openxmlformats.org/officeDocument/2006/relationships/image" Target="../media/image15.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3.png"/><Relationship Id="rId7" Type="http://schemas.openxmlformats.org/officeDocument/2006/relationships/image" Target="../media/image15.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15.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6.png"/><Relationship Id="rId7" Type="http://schemas.openxmlformats.org/officeDocument/2006/relationships/image" Target="../media/image15.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9.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87.png"/><Relationship Id="rId7" Type="http://schemas.openxmlformats.org/officeDocument/2006/relationships/image" Target="../media/image15.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0.png"/><Relationship Id="rId7" Type="http://schemas.openxmlformats.org/officeDocument/2006/relationships/image" Target="../media/image14.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91.png"/></Relationships>
</file>

<file path=ppt/slides/_rels/slide251.xml.rels><?xml version="1.0" encoding="UTF-8" standalone="yes"?>
<Relationships xmlns="http://schemas.openxmlformats.org/package/2006/relationships"><Relationship Id="rId3" Type="http://schemas.openxmlformats.org/officeDocument/2006/relationships/image" Target="../media/image292.png"/><Relationship Id="rId7" Type="http://schemas.openxmlformats.org/officeDocument/2006/relationships/image" Target="../media/image15.png"/><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2.xml.rels><?xml version="1.0" encoding="UTF-8" standalone="yes"?>
<Relationships xmlns="http://schemas.openxmlformats.org/package/2006/relationships"><Relationship Id="rId3" Type="http://schemas.openxmlformats.org/officeDocument/2006/relationships/image" Target="../media/image293.png"/><Relationship Id="rId7" Type="http://schemas.openxmlformats.org/officeDocument/2006/relationships/image" Target="../media/image15.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3.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4.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8.png"/><Relationship Id="rId7" Type="http://schemas.openxmlformats.org/officeDocument/2006/relationships/image" Target="../media/image295.png"/><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4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5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8.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1.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2.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4.xml.rels><?xml version="1.0" encoding="UTF-8" standalone="yes"?>
<Relationships xmlns="http://schemas.openxmlformats.org/package/2006/relationships"><Relationship Id="rId3" Type="http://schemas.openxmlformats.org/officeDocument/2006/relationships/image" Target="../media/image304.png"/><Relationship Id="rId7" Type="http://schemas.openxmlformats.org/officeDocument/2006/relationships/image" Target="../media/image305.png"/><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5.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6.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7.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9.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0.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311.png"/><Relationship Id="rId4" Type="http://schemas.openxmlformats.org/officeDocument/2006/relationships/image" Target="../media/image216.png"/><Relationship Id="rId9" Type="http://schemas.openxmlformats.org/officeDocument/2006/relationships/image" Target="../media/image191.png"/></Relationships>
</file>

<file path=ppt/slides/_rels/slide271.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13.png"/><Relationship Id="rId10" Type="http://schemas.openxmlformats.org/officeDocument/2006/relationships/image" Target="../media/image191.png"/><Relationship Id="rId4" Type="http://schemas.openxmlformats.org/officeDocument/2006/relationships/image" Target="../media/image216.png"/><Relationship Id="rId9" Type="http://schemas.openxmlformats.org/officeDocument/2006/relationships/image" Target="../media/image192.png"/></Relationships>
</file>

<file path=ppt/slides/_rels/slide273.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4.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315.png"/><Relationship Id="rId7" Type="http://schemas.openxmlformats.org/officeDocument/2006/relationships/image" Target="../media/image15.png"/><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7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7.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8.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9.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1.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2.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3.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4.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5.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6.xml.rels><?xml version="1.0" encoding="UTF-8" standalone="yes"?>
<Relationships xmlns="http://schemas.openxmlformats.org/package/2006/relationships"><Relationship Id="rId3" Type="http://schemas.openxmlformats.org/officeDocument/2006/relationships/image" Target="../media/image326.png"/><Relationship Id="rId7" Type="http://schemas.openxmlformats.org/officeDocument/2006/relationships/image" Target="../media/image15.png"/><Relationship Id="rId2" Type="http://schemas.openxmlformats.org/officeDocument/2006/relationships/notesSlide" Target="../notesSlides/notesSlide277.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27.png"/><Relationship Id="rId7" Type="http://schemas.openxmlformats.org/officeDocument/2006/relationships/image" Target="../media/image14.png"/><Relationship Id="rId2" Type="http://schemas.openxmlformats.org/officeDocument/2006/relationships/notesSlide" Target="../notesSlides/notesSlide27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88.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9.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image" Target="../media/image328.png"/><Relationship Id="rId7" Type="http://schemas.openxmlformats.org/officeDocument/2006/relationships/image" Target="../media/image15.png"/><Relationship Id="rId2" Type="http://schemas.openxmlformats.org/officeDocument/2006/relationships/notesSlide" Target="../notesSlides/notesSlide280.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0.xml.rels><?xml version="1.0" encoding="UTF-8" standalone="yes"?>
<Relationships xmlns="http://schemas.openxmlformats.org/package/2006/relationships"><Relationship Id="rId8" Type="http://schemas.openxmlformats.org/officeDocument/2006/relationships/image" Target="../media/image330.png"/><Relationship Id="rId13" Type="http://schemas.openxmlformats.org/officeDocument/2006/relationships/hyperlink" Target="https://github.com/hfleitas" TargetMode="External"/><Relationship Id="rId3" Type="http://schemas.openxmlformats.org/officeDocument/2006/relationships/image" Target="../media/image327.png"/><Relationship Id="rId7" Type="http://schemas.openxmlformats.org/officeDocument/2006/relationships/hyperlink" Target="http://fleitasarts.com/" TargetMode="External"/><Relationship Id="rId12" Type="http://schemas.openxmlformats.org/officeDocument/2006/relationships/image" Target="../media/image331.png"/><Relationship Id="rId17" Type="http://schemas.openxmlformats.org/officeDocument/2006/relationships/image" Target="../media/image15.png"/><Relationship Id="rId2" Type="http://schemas.openxmlformats.org/officeDocument/2006/relationships/notesSlide" Target="../notesSlides/notesSlide281.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329.png"/></Relationships>
</file>

<file path=ppt/slides/_rels/slide291.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8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1A3D5B-D72C-488B-89C1-EDF7BFB8362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7D7430-C0EF-4DB5-B6E0-5101B85F640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0731450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668833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9179935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16882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069</TotalTime>
  <Words>14476</Words>
  <Application>Microsoft Office PowerPoint</Application>
  <PresentationFormat>Widescreen</PresentationFormat>
  <Paragraphs>1665</Paragraphs>
  <Slides>291</Slides>
  <Notes>282</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91</vt:i4>
      </vt:variant>
    </vt:vector>
  </HeadingPairs>
  <TitlesOfParts>
    <vt:vector size="310" baseType="lpstr">
      <vt:lpstr>Arial</vt:lpstr>
      <vt:lpstr>Calibri</vt:lpstr>
      <vt:lpstr>Calibri Light</vt:lpstr>
      <vt:lpstr>Century Gothic</vt:lpstr>
      <vt:lpstr>Consolas</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693</cp:revision>
  <dcterms:created xsi:type="dcterms:W3CDTF">2016-05-30T15:33:26Z</dcterms:created>
  <dcterms:modified xsi:type="dcterms:W3CDTF">2019-05-07T04:39:02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